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sldIdLst>
    <p:sldId id="271" r:id="rId2"/>
    <p:sldId id="290" r:id="rId3"/>
    <p:sldId id="277" r:id="rId4"/>
    <p:sldId id="276" r:id="rId5"/>
    <p:sldId id="278" r:id="rId6"/>
    <p:sldId id="279" r:id="rId7"/>
    <p:sldId id="280" r:id="rId8"/>
    <p:sldId id="287" r:id="rId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3333" autoAdjust="0"/>
  </p:normalViewPr>
  <p:slideViewPr>
    <p:cSldViewPr snapToGrid="0">
      <p:cViewPr varScale="1">
        <p:scale>
          <a:sx n="46" d="100"/>
          <a:sy n="46" d="100"/>
        </p:scale>
        <p:origin x="142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FA3D0-D471-4935-924C-12FB86C063AE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4DBC6E-41AC-4382-A8C1-63DF80478F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47623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riflame.by/" TargetMode="External"/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riflame.by/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riflame.by/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oriflame.by/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1" u="none" strike="noStrike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r>
              <a:rPr lang="ru-RU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ри выполнении условий на бесплатную регистрацию, регистрационная плата с Консультанта не взимается. </a:t>
            </a:r>
            <a:endParaRPr lang="ru-RU" b="0" dirty="0">
              <a:effectLst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554DBC-BA49-41E6-86FF-3BFD550C4EC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18368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r>
              <a:rPr lang="ru-RU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алл Бонуса (ББ) — условный цифровой показатель, который присваивается каждому продукту </a:t>
            </a:r>
            <a:r>
              <a:rPr lang="ru-RU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рифлэйм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и указывается в каталоге. При квалификации спонсоров не учитываются ББ за продукцию, возвращенную в период действия кампании. ББ за </a:t>
            </a:r>
            <a:r>
              <a:rPr lang="ru-RU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ellness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учитываются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rtl="0"/>
            <a:r>
              <a:rPr lang="ru-RU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endParaRPr lang="ru-RU" b="0" dirty="0">
              <a:effectLst/>
            </a:endParaRPr>
          </a:p>
          <a:p>
            <a:r>
              <a:rPr lang="ru-RU" sz="1200" b="0" i="0" u="none" strike="noStrike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</a:t>
            </a:r>
            <a:r>
              <a:rPr lang="ru-RU" sz="1200" b="0" i="1" u="none" strike="noStrike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ксессуар будет единожды автоматически добавлен в первый ББ-заказ, совершенный в любом из каталожных периодов, следующих за каталожным периодом, в период действия которого Приглашающий Спонсор выполнил условие кампании по приглашению, но не позднее 16.11.2019 (включительно). За все продукты будет взиматься плата 1 BYN. В случае отсутствия продукта, компания оставляет за собой право предложить равноценную замену. Для получения  Сумки для путешествий, Дорожной сумки, Чемодана необходимо наличие не менее 1 </a:t>
            </a:r>
            <a:r>
              <a:rPr lang="ru-RU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в.рекрута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каждом каталоге кампании по приглашению (№ 8, 9, 10), а для приглашающих спонсоров с датой регистрации в каталогах №8-10 2019 – наличие не менее 1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R 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каталоге регистрации и в последующих каталогах кампании по приглашению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мпания по приглашению "СДЕЛАЙ СВОЕ ЛЕТО!" действует на территории Республики Беларусь. Международное спонсирование не учитывается. В акцию можно вступить в период 02.06.2019-03.08.2019. Все продукты по акции можно получить единожды до 16.11.2019 включительно. Внешний вид аксессуаров может незначительно отличаться от фотографий в печатных изданиях и на сайте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дробная информация об организаторе кампании по приглашению, правилах и сроках ее проведения, товарах, участвующих в акции, сроках и порядке их получения, на сайте организатора </a:t>
            </a:r>
            <a:r>
              <a:rPr lang="ru-RU" sz="1200" i="1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oriflame.by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  <a:p>
            <a:r>
              <a:rPr lang="ru-RU" dirty="0"/>
              <a:t>СУМКА</a:t>
            </a:r>
          </a:p>
          <a:p>
            <a:pPr rtl="0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емешок 100 см (не регулируется).</a:t>
            </a:r>
            <a:endParaRPr lang="ru-RU" b="0" dirty="0">
              <a:effectLst/>
            </a:endParaRPr>
          </a:p>
          <a:p>
            <a:pPr rtl="0"/>
            <a:r>
              <a:rPr lang="ru-RU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Размеры: 36 х 22.5 х 12 см, материалы: полиуретан, сатин.</a:t>
            </a:r>
          </a:p>
          <a:p>
            <a:pPr rtl="0"/>
            <a:endParaRPr lang="ru-RU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Классический силуэт и цветочные мотивы в декоре делают эту модель прекрасным дополнением для работы и отдыха, особенно в летние месяцы. У сумки тканевая подкладка, три больших отделения внутри, среднее – на молнии, три кармашка для мелочи и мобильного телефона, один из них на молнии. </a:t>
            </a:r>
          </a:p>
          <a:p>
            <a:pPr rtl="0"/>
            <a:endParaRPr lang="ru-RU" b="0" dirty="0">
              <a:effectLst/>
            </a:endParaRPr>
          </a:p>
          <a:p>
            <a:pPr rtl="0"/>
            <a:r>
              <a:rPr lang="ru-RU" b="0" dirty="0">
                <a:effectLst/>
              </a:rPr>
              <a:t>___________________________________</a:t>
            </a:r>
          </a:p>
          <a:p>
            <a:br>
              <a:rPr lang="ru-RU" dirty="0"/>
            </a:b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554DBC-BA49-41E6-86FF-3BFD550C4EC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14614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СУМКА ДЛЯ ПУТЕШЕСТВИЙ</a:t>
            </a:r>
          </a:p>
          <a:p>
            <a:endParaRPr lang="ru-RU" dirty="0"/>
          </a:p>
          <a:p>
            <a:r>
              <a:rPr lang="ru-RU" dirty="0"/>
              <a:t>Ручки 55 см (не регулируются). </a:t>
            </a:r>
          </a:p>
          <a:p>
            <a:endParaRPr lang="ru-RU" dirty="0"/>
          </a:p>
          <a:p>
            <a:r>
              <a:rPr lang="ru-RU" dirty="0"/>
              <a:t>Размеры сумки: 49 х 31 х 16 см. </a:t>
            </a:r>
          </a:p>
          <a:p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Размеры косметички: 42 х 28 х 12 см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атериалы: полиуретан, сатин.</a:t>
            </a:r>
          </a:p>
          <a:p>
            <a:endParaRPr lang="ru-RU" dirty="0"/>
          </a:p>
          <a:p>
            <a:pPr marL="0" indent="0">
              <a:buNone/>
            </a:pPr>
            <a:r>
              <a:rPr lang="ru-RU" dirty="0"/>
              <a:t>Редкая комбинация интересного дизайна и функциональности! Большое отделение внутри, без подкладки. Ручки 55 см (не регулируются). Внутри большая косметичка на молнии, которую можно носить отдельно.</a:t>
            </a:r>
          </a:p>
          <a:p>
            <a:pPr marL="0" indent="0">
              <a:buNone/>
            </a:pPr>
            <a:r>
              <a:rPr lang="ru-RU" dirty="0"/>
              <a:t> </a:t>
            </a:r>
          </a:p>
          <a:p>
            <a:r>
              <a:rPr lang="ru-RU" dirty="0"/>
              <a:t>_____________________________________</a:t>
            </a:r>
          </a:p>
          <a:p>
            <a:endParaRPr lang="ru-RU" dirty="0"/>
          </a:p>
          <a:p>
            <a:r>
              <a:rPr lang="ru-RU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r>
              <a:rPr lang="ru-RU" sz="1200" i="1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ксессуар будет единожды автоматически добавлен в первый ББ-заказ, совершенный в любом из каталожных периодов, следующих за каталожным периодом, в период действия которого Приглашающий Спонсор выполнил условие кампании по приглашению, но не позднее 16.11.2019 (включительно). За все продукты будет взиматься плата 1 BYN. В случае отсутствия продукта, компания оставляет за собой право предложить равноценную замену. Для получения  Сумки для путешествий, Дорожной сумки, Чемодана необходимо наличие не менее 1 </a:t>
            </a:r>
            <a:r>
              <a:rPr lang="ru-RU" sz="1200" i="1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в.рекрута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в каждом каталоге кампании по приглашению (№ 8, 9, 10), а для приглашающих спонсоров с датой регистрации в каталогах №8-10 2019 – наличие не менее 1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R 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каталоге регистрации и в последующих каталогах кампании по приглашению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мпания по приглашению "СДЕЛАЙ СВОЕ ЛЕТО!" действует на территории Республики Беларусь. Международное спонсирование не учитывается. В акцию можно вступить в период 02.06.2019-03.08.2019. Все продукты по акции можно получить единожды до 16.11.2019 включительно. Внешний вид аксессуаров может незначительно отличаться от фотографий в печатных изданиях и на сайте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дробная информация об организаторе кампании по приглашению, правилах и сроках ее проведения, товарах, участвующих в акции, сроках и порядке их получения, на сайте организатора </a:t>
            </a:r>
            <a:r>
              <a:rPr lang="ru-RU" sz="1200" i="1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oriflame.by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554DBC-BA49-41E6-86FF-3BFD550C4EC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1146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ОРОЖНАЯ СУМКА</a:t>
            </a:r>
          </a:p>
          <a:p>
            <a:endParaRPr lang="ru-RU" dirty="0"/>
          </a:p>
          <a:p>
            <a:r>
              <a:rPr lang="ru-RU" dirty="0"/>
              <a:t>Ручки длиной 38 см и отстёгивающийся ремень 90 см.</a:t>
            </a:r>
          </a:p>
          <a:p>
            <a:r>
              <a:rPr lang="ru-RU" dirty="0"/>
              <a:t>Размеры: 46 х 41 х 19 см.</a:t>
            </a:r>
          </a:p>
          <a:p>
            <a:r>
              <a:rPr lang="ru-RU" dirty="0"/>
              <a:t>Материалы: полиуретан, сатин.</a:t>
            </a:r>
          </a:p>
          <a:p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Отправляетесь в путешествие и не хотите брать много вещей? Такая сумка подойдёт отлично! Сбалансированный функционал: «петля» для закрепления на выдвижной ручке чемодана, внутри большое отделение, есть секция для ноутбука и кармашки на молнии снаружи и внутри сумки. Прочная тканевая подкладка, ручки и отстёгивающийся ремень с удобной мягкой вкладкой для ношения на плече.</a:t>
            </a:r>
          </a:p>
          <a:p>
            <a:r>
              <a:rPr lang="ru-RU" dirty="0"/>
              <a:t>___________________________________________________________</a:t>
            </a:r>
          </a:p>
          <a:p>
            <a:endParaRPr lang="ru-RU" dirty="0"/>
          </a:p>
          <a:p>
            <a:r>
              <a:rPr lang="ru-RU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r>
              <a:rPr lang="ru-RU" sz="1200" i="1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ксессуар будет единожды автоматически добавлен в первый ББ-заказ, совершенный в любом из каталожных периодов, следующих за каталожным периодом, в период действия которого Приглашающий Спонсор выполнил условие кампании по приглашению, но не позднее 16.11.2019 (включительно). За все продукты будет взиматься плата 1 BYN. В случае отсутствия продукта, компания оставляет за собой право предложить равноценную замену. Для получения  Сумки для путешествий, Дорожной сумки, Чемодана необходимо наличие не менее 1 кв. рекрута в каждом каталоге кампании по приглашению (№ 8, 9, 10), а для приглашающих спонсоров с датой регистрации в каталогах №8-10 2019 – наличие не менее 1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R 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каталоге регистрации и в последующих каталогах кампании по приглашению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мпания по приглашению "СДЕЛАЙ СВОЕ ЛЕТО!" действует на территории Республики Беларусь. Международное спонсирование не учитывается. В акцию можно вступить в период 02.06.2019-03.08.2019. Все продукты по акции можно получить единожды до 16.11.2019 включительно. Внешний вид аксессуаров может незначительно отличаться от фотографий в печатных изданиях и на сайте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дробная информация об организаторе кампании по приглашению, правилах и сроках ее проведения, товарах, участвующих в акции, сроках и порядке их получения, на сайте организатора </a:t>
            </a:r>
            <a:r>
              <a:rPr lang="ru-RU" sz="1200" i="1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oriflame.by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554DBC-BA49-41E6-86FF-3BFD550C4EC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87095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ЧЕМОДА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Размеры: 35 х 48 х 20,5 см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атериалы: полиуретан, сатин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Выдвижная ручка на 50 см, выполнена из оцинкованного железа.</a:t>
            </a:r>
          </a:p>
          <a:p>
            <a:endParaRPr lang="ru-RU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Компактный чемодан оригинальной расцветки – вы точно не потеряете его на багажной ленте! Снаружи два отделения на молнии с декоративными элементами на бегунках, внутри большое отделение с ремнями для фиксации, на крышке есть внутренний карман на молнии. Колеса с вращением на 360 градусов: чемодан удобно везти по любой поверхности.</a:t>
            </a:r>
          </a:p>
          <a:p>
            <a:endParaRPr lang="ru-RU" dirty="0"/>
          </a:p>
          <a:p>
            <a:r>
              <a:rPr lang="ru-RU" dirty="0"/>
              <a:t>____________________________________</a:t>
            </a:r>
          </a:p>
          <a:p>
            <a:endParaRPr lang="ru-RU" dirty="0"/>
          </a:p>
          <a:p>
            <a:r>
              <a:rPr lang="ru-RU" sz="12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</a:t>
            </a:r>
            <a:r>
              <a:rPr lang="ru-RU" sz="1200" i="1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ксессуар будет единожды автоматически добавлен в первый ББ-заказ, совершенный в любом из каталожных периодов, следующих за каталожным периодом, в период действия которого Приглашающий Спонсор выполнил условие кампании по приглашению, но не позднее 16.11.2019 (включительно). За все продукты будет взиматься плата 1 BYN. В случае отсутствия продукта, компания оставляет за собой право предложить равноценную замену. Для получения  Сумки для путешествий, Дорожной сумки, Чемодана необходимо наличие не менее 1 кв. рекрута в каждом каталоге кампании по приглашению (№ 8, 9, 10), а для приглашающих спонсоров с датой регистрации в каталогах №8-10 2019 – наличие не менее 1 </a:t>
            </a:r>
            <a:r>
              <a:rPr lang="en-US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R 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каталоге регистрации и в последующих каталогах кампании по приглашению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мпания по приглашению "СДЕЛАЙ СВОЕ ЛЕТО!" действует на территории Республики Беларусь. Международное спонсирование не учитывается. В акцию можно вступить в период 02.06.2019-03.08.2019. Все продукты по акции можно получить единожды до 16.11.2019 включительно. Внешний вид аксессуаров может незначительно отличаться от фотографий в печатных изданиях и на сайте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дробная информация об организаторе кампании по приглашению, правилах и сроках ее проведения, товарах, участвующих в акции, сроках и порядке их получения, на сайте организатора </a:t>
            </a:r>
            <a:r>
              <a:rPr lang="ru-RU" sz="1200" i="1" u="sng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www.oriflame.by</a:t>
            </a:r>
            <a:r>
              <a:rPr lang="ru-RU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E554DBC-BA49-41E6-86FF-3BFD550C4EC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8366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08B8D1-9A22-4CBD-826D-CBF02A7E0B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5D4BD50-3AFB-470C-B8DF-3ABA3961DE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468A30A-BB10-492C-9522-B9D939B0E9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CC465-FCD4-4D7A-BB42-A7381805B42A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7D79910-2B4D-4FD8-8313-984767C12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2E99CED-B522-490C-8D7D-EF8D098695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F8F57-976F-446C-AED2-66529D4BC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13922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9A1A5F9-99AF-436D-9B06-21A186FC4C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1BA077F4-62BF-458D-94DE-A9103CF338D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0682405-3CFC-4395-9E5E-0876394E3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CC465-FCD4-4D7A-BB42-A7381805B42A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2FF58FF-9458-4F96-9E4F-F804B6F032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DE59FC6-528F-4ECB-A849-3CC55AE322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F8F57-976F-446C-AED2-66529D4BC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79210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493D9577-DB14-41B3-BDA7-4F4DD5413F7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18AB426D-A124-41EC-BF65-75EED8F4D7A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08DAD5D-4D07-4F9A-AB56-749EE6515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CC465-FCD4-4D7A-BB42-A7381805B42A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542F410-F480-436D-9AE9-CFE9F6FFE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729652D-73FD-49ED-BB02-A041D58F0F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F8F57-976F-446C-AED2-66529D4BC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08697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5A99D1F-6059-4D14-A7A2-4AAB4FED7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9C88140-EC0B-4D51-A2D6-EB79F70378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20954A9-1B75-4259-B062-B3060CD4C2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CC465-FCD4-4D7A-BB42-A7381805B42A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4198738-97E6-4868-B313-6AC5A2154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1654D07-B47B-40CC-8A29-43FD9566E0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F8F57-976F-446C-AED2-66529D4BC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97265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F25071A-A5A5-4BD9-A72C-43C8A2EDD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D465BE1-F5AE-4A73-B180-68F17AB17B8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BD0E356-477E-4F0D-BB0D-B2E803EC70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CC465-FCD4-4D7A-BB42-A7381805B42A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636D067-9348-47C8-B137-155AE011F0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F864C0B-D8AD-46A0-8262-36E11BF91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F8F57-976F-446C-AED2-66529D4BC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1717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D04C1C2-28C2-4C19-A30E-60D653CD40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8F734482-F1AB-4D29-9F46-4F9F3036CA9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987B961E-8951-4C32-BDF5-96E13D2930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1D29E67-702A-43A9-A86A-8F46214694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CC465-FCD4-4D7A-BB42-A7381805B42A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C7136F5-7056-4E0F-A5B3-40AEC02500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BEDB12F-A79F-40A5-8F0F-2ED29CB0AB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F8F57-976F-446C-AED2-66529D4BC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2210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724F809-8079-4002-9709-06EE304FEF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E9D96A6-C83E-4ED2-B570-EC2A477A45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E7618C52-60AF-4CFA-80B8-77D1264EDB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ADE72A8-6D69-4B28-A5E2-F2C84C443F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61E5CFFF-1CE6-4915-B6BB-0AF708709CB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0646339-D6C7-4E8C-999C-C2B367559A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CC465-FCD4-4D7A-BB42-A7381805B42A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75C823E7-1DE5-41F1-82C4-01D0DC620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CA358E98-7DE6-4BF6-B34F-0FB21DBEEE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F8F57-976F-446C-AED2-66529D4BC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3632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E3C6E8F-87DC-4812-8E27-97BF197BD3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F2B0C071-F700-44E6-AFEA-3ACAC72EF1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CC465-FCD4-4D7A-BB42-A7381805B42A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37B0460-7FF2-4562-BF02-964F9436F3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B9862357-D595-46FE-907A-8EAB2461D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F8F57-976F-446C-AED2-66529D4BC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55257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988147D3-77D6-4E37-99D3-05520C11A5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CC465-FCD4-4D7A-BB42-A7381805B42A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B1A20B11-B90A-465D-92CE-64C0220042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DA687F5D-A3B2-4035-A18C-8EB16EAC2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F8F57-976F-446C-AED2-66529D4BC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57620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D3F4EE0-9386-407F-91AA-F0D64547BA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2E06DA2-1D63-4BE1-9A85-2622D2C3AB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95197594-738D-44A9-80EE-9566B4AE01E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C283888-B45C-4B16-B02B-D9C96CEF6E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CC465-FCD4-4D7A-BB42-A7381805B42A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71ABB2B-95E6-474D-A563-13A1C8CE38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D541CFE-29DE-4CE0-B540-1BDBEB1CBA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F8F57-976F-446C-AED2-66529D4BC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5660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3FB0BD-0A41-4F6A-82A4-848AE133AC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F68CF79-BBBE-443E-B457-8502DFF9323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51F998D-571A-4996-9B76-B22B4B928C6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67E0DE02-B73F-4D90-9501-E9457C7411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ECC465-FCD4-4D7A-BB42-A7381805B42A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0BA0F57-86B2-42A1-ADCD-4A1625DB70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D5BF6F7-B641-4475-BCE3-28D9018A0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7F8F57-976F-446C-AED2-66529D4BC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05743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057D411-0ABC-4CAA-836D-DCF4D2E5CB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5383B40-866A-43DA-A461-9A1737FE01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E907A5D-6CD5-4960-965B-4E07C3B482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ECC465-FCD4-4D7A-BB42-A7381805B42A}" type="datetimeFigureOut">
              <a:rPr lang="ru-RU" smtClean="0"/>
              <a:t>03.06.2019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F9FF4C9-0885-48A5-B8E2-FB21F75143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8686C0D-4982-4CED-85DF-A186A4E314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7F8F57-976F-446C-AED2-66529D4BC2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6777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C19C482F-1579-4C94-926E-D9DE2ECB28C7}"/>
              </a:ext>
            </a:extLst>
          </p:cNvPr>
          <p:cNvSpPr txBox="1"/>
          <p:nvPr/>
        </p:nvSpPr>
        <p:spPr>
          <a:xfrm>
            <a:off x="4299858" y="890452"/>
            <a:ext cx="8207828" cy="4018341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МПАНИЯ ПО ПРИГЛАШЕНИЮ 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СДЕЛАЙ СВОЕ ЛЕТО!»</a:t>
            </a:r>
            <a:endParaRPr kumimoji="0" lang="ru-RU" sz="4800" b="1" i="0" u="none" strike="noStrike" kern="1200" cap="none" spc="0" normalizeH="0" baseline="0" noProof="0" dirty="0">
              <a:ln>
                <a:noFill/>
              </a:ln>
              <a:solidFill>
                <a:srgbClr val="678E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талоги </a:t>
            </a: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№8 – 10</a:t>
            </a: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2019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06 –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3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08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2019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" name="Picture 2" descr="image001">
            <a:extLst>
              <a:ext uri="{FF2B5EF4-FFF2-40B4-BE49-F238E27FC236}">
                <a16:creationId xmlns:a16="http://schemas.microsoft.com/office/drawing/2014/main" id="{EC12F34B-988C-4F2D-91A7-D077CFFEFF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93"/>
          <a:stretch/>
        </p:blipFill>
        <p:spPr bwMode="auto">
          <a:xfrm>
            <a:off x="0" y="0"/>
            <a:ext cx="4648200" cy="6849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82156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5A52BF1-0532-4D0E-8BC0-1FC3744D71B3}"/>
              </a:ext>
            </a:extLst>
          </p:cNvPr>
          <p:cNvSpPr/>
          <p:nvPr/>
        </p:nvSpPr>
        <p:spPr>
          <a:xfrm>
            <a:off x="0" y="6041570"/>
            <a:ext cx="12192000" cy="816429"/>
          </a:xfrm>
          <a:prstGeom prst="rect">
            <a:avLst/>
          </a:prstGeom>
          <a:solidFill>
            <a:srgbClr val="678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Рисунок 6" descr="Изображение выглядит как сумка, аксессуар, внутренний, черный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765FD2A4-481E-4C5B-98F1-2603DE46370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3" b="1"/>
          <a:stretch/>
        </p:blipFill>
        <p:spPr>
          <a:xfrm>
            <a:off x="-279036" y="4018113"/>
            <a:ext cx="3167736" cy="2986843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28A9D4B-BA7D-4115-8AE0-B11A7A4E791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0" r="7885" b="1"/>
          <a:stretch/>
        </p:blipFill>
        <p:spPr>
          <a:xfrm rot="2243175">
            <a:off x="3955047" y="3665231"/>
            <a:ext cx="2822737" cy="207962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53454612-DBAC-4171-9331-87AB74639D3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5" t="1" r="1829" b="-2"/>
          <a:stretch/>
        </p:blipFill>
        <p:spPr>
          <a:xfrm>
            <a:off x="3817696" y="4389373"/>
            <a:ext cx="4785792" cy="2707153"/>
          </a:xfrm>
          <a:prstGeom prst="rect">
            <a:avLst/>
          </a:prstGeom>
        </p:spPr>
      </p:pic>
      <p:pic>
        <p:nvPicPr>
          <p:cNvPr id="6" name="Рисунок 5" descr="Изображение выглядит как аксессуар, внутренний, сумка, стол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21C2DD8A-6BA8-4A8A-9D1E-4B554350979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634" r="11862" b="1"/>
          <a:stretch/>
        </p:blipFill>
        <p:spPr>
          <a:xfrm>
            <a:off x="1272763" y="3465844"/>
            <a:ext cx="3346566" cy="3155461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2E839036-9A2F-4DBB-AF0A-DAAD9575323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32" r="4" b="24654"/>
          <a:stretch/>
        </p:blipFill>
        <p:spPr>
          <a:xfrm>
            <a:off x="8802628" y="3315929"/>
            <a:ext cx="3505555" cy="3305376"/>
          </a:xfrm>
          <a:prstGeom prst="rect">
            <a:avLst/>
          </a:prstGeom>
        </p:spPr>
      </p:pic>
      <p:pic>
        <p:nvPicPr>
          <p:cNvPr id="3" name="Рисунок 2" descr="Изображение выглядит как аксессуар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CC8AFCE8-FF9C-467B-B607-F71D999019E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19" r="3" b="3"/>
          <a:stretch/>
        </p:blipFill>
        <p:spPr>
          <a:xfrm>
            <a:off x="7345888" y="4178683"/>
            <a:ext cx="3764894" cy="278499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31CC2A7-05A5-40CF-AEE2-D40F81E2425B}"/>
              </a:ext>
            </a:extLst>
          </p:cNvPr>
          <p:cNvSpPr txBox="1"/>
          <p:nvPr/>
        </p:nvSpPr>
        <p:spPr>
          <a:xfrm>
            <a:off x="1721635" y="1070771"/>
            <a:ext cx="8596328" cy="169277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IFLAME </a:t>
            </a:r>
            <a:r>
              <a:rPr kumimoji="0" lang="ru-RU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СТАВЛЯЕТ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ВАЯ КОЛЛЕКЦИЯ </a:t>
            </a: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КСЕССУАРОВ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QUARIAN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2A9C471-CF7D-40E6-95A8-F4A9CB5FD0B9}"/>
              </a:ext>
            </a:extLst>
          </p:cNvPr>
          <p:cNvSpPr/>
          <p:nvPr/>
        </p:nvSpPr>
        <p:spPr>
          <a:xfrm>
            <a:off x="0" y="-12452"/>
            <a:ext cx="12192000" cy="249147"/>
          </a:xfrm>
          <a:prstGeom prst="rect">
            <a:avLst/>
          </a:prstGeom>
          <a:solidFill>
            <a:srgbClr val="678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33208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159B53E7-E266-4B11-80B5-A81C07B2A737}"/>
              </a:ext>
            </a:extLst>
          </p:cNvPr>
          <p:cNvSpPr/>
          <p:nvPr/>
        </p:nvSpPr>
        <p:spPr>
          <a:xfrm>
            <a:off x="0" y="0"/>
            <a:ext cx="12192000" cy="1376294"/>
          </a:xfrm>
          <a:prstGeom prst="rect">
            <a:avLst/>
          </a:prstGeom>
          <a:solidFill>
            <a:srgbClr val="678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FB29E45-863A-4B82-B77D-C45EAE5145FA}"/>
              </a:ext>
            </a:extLst>
          </p:cNvPr>
          <p:cNvSpPr/>
          <p:nvPr/>
        </p:nvSpPr>
        <p:spPr>
          <a:xfrm>
            <a:off x="213174" y="6104143"/>
            <a:ext cx="9733714" cy="6622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При размещении ЕДИНОВРЕМЕННОГО ЗАКАЗА НА 30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BYN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 и более по ценам каталога в течение трех дней с момента регистрации и тогда регистрация для тебя будет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БЕСПЛАТНОЙ*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+mn-cs"/>
              </a:rPr>
              <a:t>!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+mn-cs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37ED8A37-D193-4F71-A3F3-0846640D47D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55" y="2173729"/>
            <a:ext cx="2369709" cy="236970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2959A82-7F17-4C02-BD7B-0F10691A9BBE}"/>
              </a:ext>
            </a:extLst>
          </p:cNvPr>
          <p:cNvSpPr txBox="1"/>
          <p:nvPr/>
        </p:nvSpPr>
        <p:spPr>
          <a:xfrm>
            <a:off x="326227" y="4588641"/>
            <a:ext cx="194636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ВИЧОК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3D40E80-04F4-4A36-A4B9-750729A8E8F7}"/>
              </a:ext>
            </a:extLst>
          </p:cNvPr>
          <p:cNvSpPr txBox="1"/>
          <p:nvPr/>
        </p:nvSpPr>
        <p:spPr>
          <a:xfrm>
            <a:off x="3969470" y="2141850"/>
            <a:ext cx="491489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ХОДИ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ОРИФЛЭЙ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ЗМЕСТИ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УММАРНЫЙ ЗАКАЗ НА 100 ББ** И БОЛЕЕ В ТЕЧЕНИЕ 21 ДНЯ С МОМЕНТА РЕГИСТРАЦИ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ОБРЕТИ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АРФЮМЕРНУЮ ВОДА GIORDANI GOLD ORIGINAL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СЕГО ЗА 5.99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YN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!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678E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86C39C7-E0E8-4679-9B15-887FCFF8880F}"/>
              </a:ext>
            </a:extLst>
          </p:cNvPr>
          <p:cNvCxnSpPr>
            <a:cxnSpLocks/>
          </p:cNvCxnSpPr>
          <p:nvPr/>
        </p:nvCxnSpPr>
        <p:spPr>
          <a:xfrm>
            <a:off x="2404710" y="2401189"/>
            <a:ext cx="0" cy="1872343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CB8A71D5-27E3-4DC1-876E-72B716AD7723}"/>
              </a:ext>
            </a:extLst>
          </p:cNvPr>
          <p:cNvCxnSpPr>
            <a:cxnSpLocks/>
          </p:cNvCxnSpPr>
          <p:nvPr/>
        </p:nvCxnSpPr>
        <p:spPr>
          <a:xfrm>
            <a:off x="2493673" y="2401189"/>
            <a:ext cx="1237404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04D34DD5-B7A2-4F95-80ED-DB59784C931D}"/>
              </a:ext>
            </a:extLst>
          </p:cNvPr>
          <p:cNvCxnSpPr>
            <a:cxnSpLocks/>
          </p:cNvCxnSpPr>
          <p:nvPr/>
        </p:nvCxnSpPr>
        <p:spPr>
          <a:xfrm>
            <a:off x="2493673" y="3086989"/>
            <a:ext cx="1237404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ED243757-246E-493C-9409-0211E46FFC33}"/>
              </a:ext>
            </a:extLst>
          </p:cNvPr>
          <p:cNvCxnSpPr>
            <a:cxnSpLocks/>
          </p:cNvCxnSpPr>
          <p:nvPr/>
        </p:nvCxnSpPr>
        <p:spPr>
          <a:xfrm>
            <a:off x="2493673" y="4273532"/>
            <a:ext cx="1237404" cy="0"/>
          </a:xfrm>
          <a:prstGeom prst="line">
            <a:avLst/>
          </a:prstGeom>
          <a:ln w="28575"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FB657D8-2963-4B59-9D24-202DF7FE8E76}"/>
              </a:ext>
            </a:extLst>
          </p:cNvPr>
          <p:cNvSpPr/>
          <p:nvPr/>
        </p:nvSpPr>
        <p:spPr>
          <a:xfrm>
            <a:off x="2108670" y="91624"/>
            <a:ext cx="8516051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МПАНИЯ ПО ПРИГЛАШЕНИЮ 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СДЕЛАЙ СВОЕ ЛЕТО!»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9" name="Рисунок 18" descr="Изображение выглядит как предметы личной гигиены, внутренний, духи, сидит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1DBF0E07-1828-404E-B32D-FE8DB653D0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4365" y="1172886"/>
            <a:ext cx="3198063" cy="6121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0913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EFF598-1F70-49FD-91F0-339C8C167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EFF598-1F70-49FD-91F0-339C8C167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948A99-AD53-4F96-ADFC-717EECDF00D8}"/>
              </a:ext>
            </a:extLst>
          </p:cNvPr>
          <p:cNvSpPr/>
          <p:nvPr/>
        </p:nvSpPr>
        <p:spPr>
          <a:xfrm>
            <a:off x="0" y="0"/>
            <a:ext cx="5672313" cy="6858000"/>
          </a:xfrm>
          <a:prstGeom prst="rect">
            <a:avLst/>
          </a:prstGeom>
          <a:solidFill>
            <a:srgbClr val="678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9995032-8339-4902-82AE-0973D276DBF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819" y="1390914"/>
            <a:ext cx="2369709" cy="236970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6C173AF-06F9-4580-A1E4-4751BBCC1511}"/>
              </a:ext>
            </a:extLst>
          </p:cNvPr>
          <p:cNvSpPr txBox="1"/>
          <p:nvPr/>
        </p:nvSpPr>
        <p:spPr>
          <a:xfrm>
            <a:off x="1874304" y="293856"/>
            <a:ext cx="19647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СЛОВИЯ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9556A32-47CE-49DC-BE9E-AFBD022BBC04}"/>
              </a:ext>
            </a:extLst>
          </p:cNvPr>
          <p:cNvSpPr/>
          <p:nvPr/>
        </p:nvSpPr>
        <p:spPr>
          <a:xfrm>
            <a:off x="2856655" y="114853"/>
            <a:ext cx="12302244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МПАНИЯ ПО ПРИГЛАШЕНИЮ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678E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СДЕЛАЙ СВОЕ ЛЕТО!»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rgbClr val="678E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097A11D-B547-41E8-9133-9DC61F0B141B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8033" y="1126555"/>
            <a:ext cx="1468984" cy="1468984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1627D4D-56E9-475B-8760-72D35BB53699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98033" y="2817138"/>
            <a:ext cx="1468984" cy="146898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CB3FBF-C662-4F6E-8B76-41516F8D5AC6}"/>
              </a:ext>
            </a:extLst>
          </p:cNvPr>
          <p:cNvSpPr txBox="1"/>
          <p:nvPr/>
        </p:nvSpPr>
        <p:spPr>
          <a:xfrm>
            <a:off x="4322418" y="2537674"/>
            <a:ext cx="9172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АГ1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E6F341E7-08BF-4FFC-8E8E-0825DB87B449}"/>
              </a:ext>
            </a:extLst>
          </p:cNvPr>
          <p:cNvCxnSpPr>
            <a:cxnSpLocks/>
          </p:cNvCxnSpPr>
          <p:nvPr/>
        </p:nvCxnSpPr>
        <p:spPr>
          <a:xfrm flipV="1">
            <a:off x="2616591" y="1663766"/>
            <a:ext cx="1566431" cy="842518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2EA6873-A330-41DE-BFDD-D6D1861D3273}"/>
              </a:ext>
            </a:extLst>
          </p:cNvPr>
          <p:cNvSpPr/>
          <p:nvPr/>
        </p:nvSpPr>
        <p:spPr>
          <a:xfrm>
            <a:off x="120044" y="6119122"/>
            <a:ext cx="51196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гласи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-х друзей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в период со 2 июня 2019 года по 3 августа 2019 года, помоги каждому из них пройти ШАГ1 Стартовой программы для новых консультантов и получи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УМКУ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 1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yn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Рисунок 11" descr="Изображение выглядит как аксессуар, внутренний, сумка, стол&#10;&#10;Описание создано с высокой степенью достоверности">
            <a:extLst>
              <a:ext uri="{FF2B5EF4-FFF2-40B4-BE49-F238E27FC236}">
                <a16:creationId xmlns:a16="http://schemas.microsoft.com/office/drawing/2014/main" id="{57014871-ECCD-4225-8E31-DD1A681B751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4410" y="601094"/>
            <a:ext cx="9581609" cy="6720749"/>
          </a:xfrm>
          <a:prstGeom prst="rect">
            <a:avLst/>
          </a:prstGeom>
        </p:spPr>
      </p:pic>
      <p:cxnSp>
        <p:nvCxnSpPr>
          <p:cNvPr id="21" name="Прямая соединительная линия 13">
            <a:extLst>
              <a:ext uri="{FF2B5EF4-FFF2-40B4-BE49-F238E27FC236}">
                <a16:creationId xmlns:a16="http://schemas.microsoft.com/office/drawing/2014/main" id="{63EB4D80-3453-4919-B84A-B0CA27335BBB}"/>
              </a:ext>
            </a:extLst>
          </p:cNvPr>
          <p:cNvCxnSpPr>
            <a:cxnSpLocks/>
          </p:cNvCxnSpPr>
          <p:nvPr/>
        </p:nvCxnSpPr>
        <p:spPr>
          <a:xfrm flipH="1" flipV="1">
            <a:off x="2599475" y="2636220"/>
            <a:ext cx="1566431" cy="842518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22C13B90-FC4B-4F33-9BFF-9878629C1B7B}"/>
              </a:ext>
            </a:extLst>
          </p:cNvPr>
          <p:cNvSpPr txBox="1"/>
          <p:nvPr/>
        </p:nvSpPr>
        <p:spPr>
          <a:xfrm>
            <a:off x="272444" y="3961469"/>
            <a:ext cx="351801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ГЛАШАЮЩИЙ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ОНСОР</a:t>
            </a:r>
          </a:p>
        </p:txBody>
      </p:sp>
    </p:spTree>
    <p:extLst>
      <p:ext uri="{BB962C8B-B14F-4D97-AF65-F5344CB8AC3E}">
        <p14:creationId xmlns:p14="http://schemas.microsoft.com/office/powerpoint/2010/main" val="805929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EFF598-1F70-49FD-91F0-339C8C167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EFF598-1F70-49FD-91F0-339C8C167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948A99-AD53-4F96-ADFC-717EECDF00D8}"/>
              </a:ext>
            </a:extLst>
          </p:cNvPr>
          <p:cNvSpPr/>
          <p:nvPr/>
        </p:nvSpPr>
        <p:spPr>
          <a:xfrm>
            <a:off x="11975" y="0"/>
            <a:ext cx="5672313" cy="6858000"/>
          </a:xfrm>
          <a:prstGeom prst="rect">
            <a:avLst/>
          </a:prstGeom>
          <a:solidFill>
            <a:srgbClr val="678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9995032-8339-4902-82AE-0973D276DBF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532" y="1495641"/>
            <a:ext cx="2369709" cy="236970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6C173AF-06F9-4580-A1E4-4751BBCC1511}"/>
              </a:ext>
            </a:extLst>
          </p:cNvPr>
          <p:cNvSpPr txBox="1"/>
          <p:nvPr/>
        </p:nvSpPr>
        <p:spPr>
          <a:xfrm>
            <a:off x="1874304" y="293856"/>
            <a:ext cx="19647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СЛОВИЯ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9556A32-47CE-49DC-BE9E-AFBD022BBC04}"/>
              </a:ext>
            </a:extLst>
          </p:cNvPr>
          <p:cNvSpPr/>
          <p:nvPr/>
        </p:nvSpPr>
        <p:spPr>
          <a:xfrm>
            <a:off x="2856655" y="114853"/>
            <a:ext cx="12302244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МПАНИЯ ПО ПРИГЛАШЕНИЮ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678E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СДЕЛАЙ СВОЕ ЛЕТО!»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rgbClr val="678E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097A11D-B547-41E8-9133-9DC61F0B141B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8823" y="1022091"/>
            <a:ext cx="1468984" cy="1468984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1627D4D-56E9-475B-8760-72D35BB53699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5239" y="2829092"/>
            <a:ext cx="1468984" cy="146898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CB3FBF-C662-4F6E-8B76-41516F8D5AC6}"/>
              </a:ext>
            </a:extLst>
          </p:cNvPr>
          <p:cNvSpPr txBox="1"/>
          <p:nvPr/>
        </p:nvSpPr>
        <p:spPr>
          <a:xfrm>
            <a:off x="4062492" y="2511484"/>
            <a:ext cx="9172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АГ1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E6F341E7-08BF-4FFC-8E8E-0825DB87B449}"/>
              </a:ext>
            </a:extLst>
          </p:cNvPr>
          <p:cNvCxnSpPr>
            <a:cxnSpLocks/>
          </p:cNvCxnSpPr>
          <p:nvPr/>
        </p:nvCxnSpPr>
        <p:spPr>
          <a:xfrm flipV="1">
            <a:off x="2406376" y="1659443"/>
            <a:ext cx="1187580" cy="598808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2EA6873-A330-41DE-BFDD-D6D1861D3273}"/>
              </a:ext>
            </a:extLst>
          </p:cNvPr>
          <p:cNvSpPr/>
          <p:nvPr/>
        </p:nvSpPr>
        <p:spPr>
          <a:xfrm>
            <a:off x="77773" y="6004254"/>
            <a:ext cx="55577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гласи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-х друзей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период со 2 июня 2019 года по 3 августа 2019 года, помоги каждому из них пройти ШАГ1 Стартовой программы для новых консультантов и получи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УМКУ ДЛЯ ПУТЕШЕСТВИ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 1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n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" name="Прямая соединительная линия 13">
            <a:extLst>
              <a:ext uri="{FF2B5EF4-FFF2-40B4-BE49-F238E27FC236}">
                <a16:creationId xmlns:a16="http://schemas.microsoft.com/office/drawing/2014/main" id="{63EB4D80-3453-4919-B84A-B0CA27335BBB}"/>
              </a:ext>
            </a:extLst>
          </p:cNvPr>
          <p:cNvCxnSpPr>
            <a:cxnSpLocks/>
          </p:cNvCxnSpPr>
          <p:nvPr/>
        </p:nvCxnSpPr>
        <p:spPr>
          <a:xfrm flipH="1" flipV="1">
            <a:off x="2329543" y="2720528"/>
            <a:ext cx="1247298" cy="753888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22C13B90-FC4B-4F33-9BFF-9878629C1B7B}"/>
              </a:ext>
            </a:extLst>
          </p:cNvPr>
          <p:cNvSpPr txBox="1"/>
          <p:nvPr/>
        </p:nvSpPr>
        <p:spPr>
          <a:xfrm>
            <a:off x="75941" y="3937824"/>
            <a:ext cx="351801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ГЛАШАЮЩИЙ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ОНСОР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6DFEA3F1-BF09-400C-A3F5-B8FF1FDDBED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7843" y="1019839"/>
            <a:ext cx="1468984" cy="146898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7BAE9485-FC74-452F-BC68-B566CFA370C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8681" y="2835567"/>
            <a:ext cx="1468984" cy="1468984"/>
          </a:xfrm>
          <a:prstGeom prst="rect">
            <a:avLst/>
          </a:prstGeom>
        </p:spPr>
      </p:pic>
      <p:pic>
        <p:nvPicPr>
          <p:cNvPr id="22" name="Рисунок 21" descr="Изображение выглядит как сумка, аксессуар, внутренний, черный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AB4243FD-A9D2-4F2D-9B08-FF5CD880BE8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0846" y="1254791"/>
            <a:ext cx="5042207" cy="4727932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8C93975-17AC-4204-8AFE-D0770E2DF689}"/>
              </a:ext>
            </a:extLst>
          </p:cNvPr>
          <p:cNvSpPr/>
          <p:nvPr/>
        </p:nvSpPr>
        <p:spPr>
          <a:xfrm>
            <a:off x="5750086" y="5982723"/>
            <a:ext cx="642993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ажно! 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ичие не менее 1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в.рекрута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каждом каталоге кампании по приглашению (№ 8, 9, 10), а для приглашающих спонсоров с датой регистрации в каталогах №8-10 2019 – наличие не менее 1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R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каталоге регистрации и в последующих каталогах кампании по приглашению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1897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EFF598-1F70-49FD-91F0-339C8C167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EFF598-1F70-49FD-91F0-339C8C167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948A99-AD53-4F96-ADFC-717EECDF00D8}"/>
              </a:ext>
            </a:extLst>
          </p:cNvPr>
          <p:cNvSpPr/>
          <p:nvPr/>
        </p:nvSpPr>
        <p:spPr>
          <a:xfrm>
            <a:off x="11975" y="0"/>
            <a:ext cx="5672313" cy="6858000"/>
          </a:xfrm>
          <a:prstGeom prst="rect">
            <a:avLst/>
          </a:prstGeom>
          <a:solidFill>
            <a:srgbClr val="678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9995032-8339-4902-82AE-0973D276DBF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23" y="1360700"/>
            <a:ext cx="2369709" cy="236970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6C173AF-06F9-4580-A1E4-4751BBCC1511}"/>
              </a:ext>
            </a:extLst>
          </p:cNvPr>
          <p:cNvSpPr txBox="1"/>
          <p:nvPr/>
        </p:nvSpPr>
        <p:spPr>
          <a:xfrm>
            <a:off x="1874304" y="293856"/>
            <a:ext cx="19647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СЛОВИЯ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9556A32-47CE-49DC-BE9E-AFBD022BBC04}"/>
              </a:ext>
            </a:extLst>
          </p:cNvPr>
          <p:cNvSpPr/>
          <p:nvPr/>
        </p:nvSpPr>
        <p:spPr>
          <a:xfrm>
            <a:off x="2856655" y="114853"/>
            <a:ext cx="12302244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МПАНИЯ ПО ПРИГЛАШЕНИЮ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678E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СДЕЛАЙ СВОЕ ЛЕТО!»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rgbClr val="678E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097A11D-B547-41E8-9133-9DC61F0B141B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3266" y="1030725"/>
            <a:ext cx="1468984" cy="1468984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1627D4D-56E9-475B-8760-72D35BB53699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649" y="2665527"/>
            <a:ext cx="1468984" cy="146898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CB3FBF-C662-4F6E-8B76-41516F8D5AC6}"/>
              </a:ext>
            </a:extLst>
          </p:cNvPr>
          <p:cNvSpPr txBox="1"/>
          <p:nvPr/>
        </p:nvSpPr>
        <p:spPr>
          <a:xfrm>
            <a:off x="3893267" y="2415041"/>
            <a:ext cx="9172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АГ1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E6F341E7-08BF-4FFC-8E8E-0825DB87B449}"/>
              </a:ext>
            </a:extLst>
          </p:cNvPr>
          <p:cNvCxnSpPr>
            <a:cxnSpLocks/>
          </p:cNvCxnSpPr>
          <p:nvPr/>
        </p:nvCxnSpPr>
        <p:spPr>
          <a:xfrm flipV="1">
            <a:off x="2406376" y="1906731"/>
            <a:ext cx="763606" cy="351520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2EA6873-A330-41DE-BFDD-D6D1861D3273}"/>
              </a:ext>
            </a:extLst>
          </p:cNvPr>
          <p:cNvSpPr/>
          <p:nvPr/>
        </p:nvSpPr>
        <p:spPr>
          <a:xfrm>
            <a:off x="77773" y="6004254"/>
            <a:ext cx="55577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гласи 6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х друзей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период со 2 июня 2019 года по 3 августа 2019 года, помоги каждому из них пройти ШАГ1 Стартовой программы для новых консультантов и получи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ОРОЖНУЮ СУМКУ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 1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n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" name="Прямая соединительная линия 13">
            <a:extLst>
              <a:ext uri="{FF2B5EF4-FFF2-40B4-BE49-F238E27FC236}">
                <a16:creationId xmlns:a16="http://schemas.microsoft.com/office/drawing/2014/main" id="{63EB4D80-3453-4919-B84A-B0CA27335BBB}"/>
              </a:ext>
            </a:extLst>
          </p:cNvPr>
          <p:cNvCxnSpPr>
            <a:cxnSpLocks/>
          </p:cNvCxnSpPr>
          <p:nvPr/>
        </p:nvCxnSpPr>
        <p:spPr>
          <a:xfrm flipH="1" flipV="1">
            <a:off x="2329543" y="2720528"/>
            <a:ext cx="787231" cy="464319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22C13B90-FC4B-4F33-9BFF-9878629C1B7B}"/>
              </a:ext>
            </a:extLst>
          </p:cNvPr>
          <p:cNvSpPr txBox="1"/>
          <p:nvPr/>
        </p:nvSpPr>
        <p:spPr>
          <a:xfrm>
            <a:off x="75941" y="3937824"/>
            <a:ext cx="351801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ГЛАШАЮЩИЙ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ОНСОР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6DFEA3F1-BF09-400C-A3F5-B8FF1FDDBED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3956" y="1043198"/>
            <a:ext cx="1468984" cy="146898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7BAE9485-FC74-452F-BC68-B566CFA370C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7642" y="2663963"/>
            <a:ext cx="1468984" cy="1468984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8C93975-17AC-4204-8AFE-D0770E2DF689}"/>
              </a:ext>
            </a:extLst>
          </p:cNvPr>
          <p:cNvSpPr/>
          <p:nvPr/>
        </p:nvSpPr>
        <p:spPr>
          <a:xfrm>
            <a:off x="5750086" y="5982723"/>
            <a:ext cx="642993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ажно! 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ичие не менее 1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в.рекрута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каждом каталоге кампании по приглашению (№ 8, 9, 10), а для приглашающих спонсоров с датой регистрации в каталогах №8-10 2019 – наличие не менее 1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R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каталоге регистрации и в последующих каталогах кампании по приглашению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4DF02816-B364-4EA0-8456-D397413FE51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1834" y="2663963"/>
            <a:ext cx="1468984" cy="1468984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073349E-13B3-449C-A986-97DE54905466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99487" y="1062400"/>
            <a:ext cx="1468984" cy="1468984"/>
          </a:xfrm>
          <a:prstGeom prst="rect">
            <a:avLst/>
          </a:prstGeom>
        </p:spPr>
      </p:pic>
      <p:pic>
        <p:nvPicPr>
          <p:cNvPr id="15" name="Рисунок 14" descr="Изображение выглядит как аксессуар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B3F05428-F3AF-4FF6-9D4E-92F49EB214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5744" y="1267732"/>
            <a:ext cx="6412103" cy="4925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049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9EFF598-1F70-49FD-91F0-339C8C1679B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471" imgH="472" progId="TCLayout.ActiveDocument.1">
                  <p:embed/>
                </p:oleObj>
              </mc:Choice>
              <mc:Fallback>
                <p:oleObj name="think-cell Slide" r:id="rId5" imgW="471" imgH="47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9EFF598-1F70-49FD-91F0-339C8C167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B948A99-AD53-4F96-ADFC-717EECDF00D8}"/>
              </a:ext>
            </a:extLst>
          </p:cNvPr>
          <p:cNvSpPr/>
          <p:nvPr/>
        </p:nvSpPr>
        <p:spPr>
          <a:xfrm>
            <a:off x="11975" y="0"/>
            <a:ext cx="5672313" cy="6858000"/>
          </a:xfrm>
          <a:prstGeom prst="rect">
            <a:avLst/>
          </a:prstGeom>
          <a:solidFill>
            <a:srgbClr val="678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9995032-8339-4902-82AE-0973D276DBF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23" y="1360700"/>
            <a:ext cx="2369709" cy="2369709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6C173AF-06F9-4580-A1E4-4751BBCC1511}"/>
              </a:ext>
            </a:extLst>
          </p:cNvPr>
          <p:cNvSpPr txBox="1"/>
          <p:nvPr/>
        </p:nvSpPr>
        <p:spPr>
          <a:xfrm>
            <a:off x="1874304" y="293856"/>
            <a:ext cx="19647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СЛОВИЯ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9556A32-47CE-49DC-BE9E-AFBD022BBC04}"/>
              </a:ext>
            </a:extLst>
          </p:cNvPr>
          <p:cNvSpPr/>
          <p:nvPr/>
        </p:nvSpPr>
        <p:spPr>
          <a:xfrm>
            <a:off x="2856655" y="114853"/>
            <a:ext cx="12302244" cy="10002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МПАНИЯ ПО ПРИГЛАШЕНИЮ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678E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СДЕЛАЙ СВОЕ ЛЕТО!»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srgbClr val="678E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B1627D4D-56E9-475B-8760-72D35BB53699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649" y="2665527"/>
            <a:ext cx="1468984" cy="146898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CB3FBF-C662-4F6E-8B76-41516F8D5AC6}"/>
              </a:ext>
            </a:extLst>
          </p:cNvPr>
          <p:cNvSpPr txBox="1"/>
          <p:nvPr/>
        </p:nvSpPr>
        <p:spPr>
          <a:xfrm>
            <a:off x="3893267" y="2415041"/>
            <a:ext cx="9172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ШАГ4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E6F341E7-08BF-4FFC-8E8E-0825DB87B449}"/>
              </a:ext>
            </a:extLst>
          </p:cNvPr>
          <p:cNvCxnSpPr>
            <a:cxnSpLocks/>
          </p:cNvCxnSpPr>
          <p:nvPr/>
        </p:nvCxnSpPr>
        <p:spPr>
          <a:xfrm flipV="1">
            <a:off x="2406376" y="1906731"/>
            <a:ext cx="763606" cy="351520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22EA6873-A330-41DE-BFDD-D6D1861D3273}"/>
              </a:ext>
            </a:extLst>
          </p:cNvPr>
          <p:cNvSpPr/>
          <p:nvPr/>
        </p:nvSpPr>
        <p:spPr>
          <a:xfrm>
            <a:off x="77773" y="6004254"/>
            <a:ext cx="55577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гласи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-х друзей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период со 2 июня 2019 года по 3 августа 2019 года, помоги каждому из них пройти  ШАГ4 Стартовой программы для новых консультантов и получи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ЧЕМОДАН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 1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n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1" name="Прямая соединительная линия 13">
            <a:extLst>
              <a:ext uri="{FF2B5EF4-FFF2-40B4-BE49-F238E27FC236}">
                <a16:creationId xmlns:a16="http://schemas.microsoft.com/office/drawing/2014/main" id="{63EB4D80-3453-4919-B84A-B0CA27335BBB}"/>
              </a:ext>
            </a:extLst>
          </p:cNvPr>
          <p:cNvCxnSpPr>
            <a:cxnSpLocks/>
          </p:cNvCxnSpPr>
          <p:nvPr/>
        </p:nvCxnSpPr>
        <p:spPr>
          <a:xfrm flipH="1" flipV="1">
            <a:off x="2329543" y="2720528"/>
            <a:ext cx="787231" cy="464319"/>
          </a:xfrm>
          <a:prstGeom prst="line">
            <a:avLst/>
          </a:prstGeom>
          <a:ln w="28575">
            <a:solidFill>
              <a:schemeClr val="bg1"/>
            </a:solidFill>
            <a:prstDash val="sysDot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22C13B90-FC4B-4F33-9BFF-9878629C1B7B}"/>
              </a:ext>
            </a:extLst>
          </p:cNvPr>
          <p:cNvSpPr txBox="1"/>
          <p:nvPr/>
        </p:nvSpPr>
        <p:spPr>
          <a:xfrm>
            <a:off x="75941" y="3937824"/>
            <a:ext cx="351801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ГЛАШАЮЩИЙ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ОНСОР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6DFEA3F1-BF09-400C-A3F5-B8FF1FDDBED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4783" y="987564"/>
            <a:ext cx="1468984" cy="146898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7BAE9485-FC74-452F-BC68-B566CFA370C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7642" y="2663963"/>
            <a:ext cx="1468984" cy="1468984"/>
          </a:xfrm>
          <a:prstGeom prst="rect">
            <a:avLst/>
          </a:prstGeom>
        </p:spPr>
      </p:pic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8C93975-17AC-4204-8AFE-D0770E2DF689}"/>
              </a:ext>
            </a:extLst>
          </p:cNvPr>
          <p:cNvSpPr/>
          <p:nvPr/>
        </p:nvSpPr>
        <p:spPr>
          <a:xfrm>
            <a:off x="5750086" y="5982723"/>
            <a:ext cx="642993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ажно! 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ичие не менее 1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в.рекрута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каждом каталоге кампании по приглашению (№ 8, 9, 10), а для приглашающих спонсоров с датой регистрации в каталогах №8-10 2019 – наличие не менее 1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QR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в каталоге регистрации и в последующих каталогах кампании по приглашению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4DF02816-B364-4EA0-8456-D397413FE51C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1834" y="2663963"/>
            <a:ext cx="1468984" cy="1468984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073349E-13B3-449C-A986-97DE54905466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314" y="1006766"/>
            <a:ext cx="1468984" cy="1468984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FB37E32-B992-4B8E-9245-76FC6D0FDE1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0326" y="1032416"/>
            <a:ext cx="3916984" cy="5487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63768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5A52BF1-0532-4D0E-8BC0-1FC3744D71B3}"/>
              </a:ext>
            </a:extLst>
          </p:cNvPr>
          <p:cNvSpPr/>
          <p:nvPr/>
        </p:nvSpPr>
        <p:spPr>
          <a:xfrm>
            <a:off x="0" y="6041570"/>
            <a:ext cx="12192000" cy="816429"/>
          </a:xfrm>
          <a:prstGeom prst="rect">
            <a:avLst/>
          </a:prstGeom>
          <a:solidFill>
            <a:srgbClr val="678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31CC2A7-05A5-40CF-AEE2-D40F81E2425B}"/>
              </a:ext>
            </a:extLst>
          </p:cNvPr>
          <p:cNvSpPr txBox="1"/>
          <p:nvPr/>
        </p:nvSpPr>
        <p:spPr>
          <a:xfrm>
            <a:off x="6829208" y="2125073"/>
            <a:ext cx="5155963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ДЕЛАЙ СВОЕ ЛЕТО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678E7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678E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БЕРИ ВСЮ КОЛЛЕКЦИЮ АКСЕССУАРОВ!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92A9C471-CF7D-40E6-95A8-F4A9CB5FD0B9}"/>
              </a:ext>
            </a:extLst>
          </p:cNvPr>
          <p:cNvSpPr/>
          <p:nvPr/>
        </p:nvSpPr>
        <p:spPr>
          <a:xfrm>
            <a:off x="0" y="-12452"/>
            <a:ext cx="12192000" cy="249147"/>
          </a:xfrm>
          <a:prstGeom prst="rect">
            <a:avLst/>
          </a:prstGeom>
          <a:solidFill>
            <a:srgbClr val="678E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object 2">
            <a:extLst>
              <a:ext uri="{FF2B5EF4-FFF2-40B4-BE49-F238E27FC236}">
                <a16:creationId xmlns:a16="http://schemas.microsoft.com/office/drawing/2014/main" id="{5725D014-6883-4F58-9420-C30647B44511}"/>
              </a:ext>
            </a:extLst>
          </p:cNvPr>
          <p:cNvSpPr/>
          <p:nvPr/>
        </p:nvSpPr>
        <p:spPr>
          <a:xfrm>
            <a:off x="424544" y="555876"/>
            <a:ext cx="6287356" cy="5166512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77447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253</Words>
  <Application>Microsoft Office PowerPoint</Application>
  <PresentationFormat>Широкоэкранный</PresentationFormat>
  <Paragraphs>119</Paragraphs>
  <Slides>8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4" baseType="lpstr">
      <vt:lpstr>Arial</vt:lpstr>
      <vt:lpstr>Calibri</vt:lpstr>
      <vt:lpstr>Calibri Light</vt:lpstr>
      <vt:lpstr>Times New Roman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leva, Victoria</dc:creator>
  <cp:lastModifiedBy>Komleva, Victoria</cp:lastModifiedBy>
  <cp:revision>2</cp:revision>
  <dcterms:created xsi:type="dcterms:W3CDTF">2019-06-03T10:15:44Z</dcterms:created>
  <dcterms:modified xsi:type="dcterms:W3CDTF">2019-06-03T10:2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29aa55-c717-49c7-96ad-42e953bc7712_Enabled">
    <vt:lpwstr>True</vt:lpwstr>
  </property>
  <property fmtid="{D5CDD505-2E9C-101B-9397-08002B2CF9AE}" pid="3" name="MSIP_Label_b029aa55-c717-49c7-96ad-42e953bc7712_SiteId">
    <vt:lpwstr>e46bc88e-1a4b-44ff-a158-1b9f7eb4561e</vt:lpwstr>
  </property>
  <property fmtid="{D5CDD505-2E9C-101B-9397-08002B2CF9AE}" pid="4" name="MSIP_Label_b029aa55-c717-49c7-96ad-42e953bc7712_Owner">
    <vt:lpwstr>KomlevaV@oriflame.com</vt:lpwstr>
  </property>
  <property fmtid="{D5CDD505-2E9C-101B-9397-08002B2CF9AE}" pid="5" name="MSIP_Label_b029aa55-c717-49c7-96ad-42e953bc7712_SetDate">
    <vt:lpwstr>2019-06-03T10:18:16.1996452Z</vt:lpwstr>
  </property>
  <property fmtid="{D5CDD505-2E9C-101B-9397-08002B2CF9AE}" pid="6" name="MSIP_Label_b029aa55-c717-49c7-96ad-42e953bc7712_Name">
    <vt:lpwstr>Internal</vt:lpwstr>
  </property>
  <property fmtid="{D5CDD505-2E9C-101B-9397-08002B2CF9AE}" pid="7" name="MSIP_Label_b029aa55-c717-49c7-96ad-42e953bc7712_Application">
    <vt:lpwstr>Microsoft Azure Information Protection</vt:lpwstr>
  </property>
  <property fmtid="{D5CDD505-2E9C-101B-9397-08002B2CF9AE}" pid="8" name="MSIP_Label_b029aa55-c717-49c7-96ad-42e953bc7712_Extended_MSFT_Method">
    <vt:lpwstr>Automatic</vt:lpwstr>
  </property>
  <property fmtid="{D5CDD505-2E9C-101B-9397-08002B2CF9AE}" pid="9" name="Sensitivity">
    <vt:lpwstr>Internal</vt:lpwstr>
  </property>
</Properties>
</file>